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7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A624405-1B15-4D0A-A1A8-27B2D86878E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>
                <a:latin typeface="FZZhunYuan-M02S"/>
                <a:cs typeface="FZZhunYuan-M02S"/>
              </a:rPr>
              <a:t>耗电量至少降低</a:t>
            </a:r>
            <a:r>
              <a:rPr dirty="0">
                <a:latin typeface="+mn-lt"/>
                <a:cs typeface="FZZhunYuan-M02S"/>
              </a:rPr>
              <a:t>15%</a:t>
            </a:r>
            <a:endParaRPr lang="zh-CN" b="0" dirty="0"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4485" y="1395858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>
                <a:cs typeface="FZZhunYuan-M02S"/>
              </a:rPr>
              <a:t>Series 1</a:t>
            </a:r>
            <a:r>
              <a:rPr dirty="0">
                <a:latin typeface="FZZhunYuan-M02S"/>
                <a:cs typeface="FZZhunYuan-M02S"/>
              </a:rPr>
              <a:t>吹瓶机上采用</a:t>
            </a:r>
            <a:r>
              <a:rPr dirty="0">
                <a:cs typeface="FZZhunYuan-M02S"/>
              </a:rPr>
              <a:t>ECO</a:t>
            </a:r>
            <a:r>
              <a:rPr dirty="0">
                <a:latin typeface="FZZhunYuan-M02S"/>
                <a:cs typeface="FZZhunYuan-M02S"/>
              </a:rPr>
              <a:t>生态灯</a:t>
            </a:r>
            <a:endParaRPr lang="zh-CN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价值：优化成本</a:t>
            </a:r>
            <a:r>
              <a:rPr lang="fr-FR" altLang="zh-CN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, </a:t>
            </a: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可持续发展</a:t>
            </a:r>
            <a:endParaRPr lang="fr-FR" altLang="zh-CN" sz="800" kern="0" dirty="0">
              <a:solidFill>
                <a:srgbClr val="000000"/>
              </a:solidFill>
              <a:latin typeface="FZZhunYuan-M02S"/>
              <a:cs typeface="FZZhunYuan-M02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设备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Series 1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吹瓶机 </a:t>
            </a:r>
            <a:r>
              <a:rPr lang="zh-CN" altLang="fr-FR" sz="800" kern="0" dirty="0">
                <a:solidFill>
                  <a:srgbClr val="000000"/>
                </a:solidFill>
                <a:latin typeface="FZZhunYuan-M02S"/>
                <a:cs typeface="FZZhunYuan-M02S"/>
              </a:rPr>
              <a:t>（不包括热定型版本）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产品目录代码：</a:t>
            </a: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FZZhunYuan-M02S"/>
              </a:rPr>
              <a:t>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价值和益处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/>
                        <a:ea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/>
                          <a:cs typeface="FZZhunYuan-M02S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/>
                        <a:cs typeface="FZZhunYuan-M02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加热过程中的耗电量至少可降低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5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烘炉节约的电能至少为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cs typeface="FZZhunYuan-M02S"/>
                        </a:rPr>
                        <a:t>15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提高了辐射强度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便于安装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更优化的瓶胚表面分区，提高了对瓶颈的保护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提高了工艺稳定性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石英管采用物理保护措施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加工能力保持与</a:t>
                      </a:r>
                      <a:r>
                        <a:rPr lang="en-US" sz="1200" dirty="0">
                          <a:latin typeface="+mn-lt"/>
                        </a:rPr>
                        <a:t>Universal</a:t>
                      </a:r>
                      <a:r>
                        <a:rPr lang="en-US" sz="1200" dirty="0"/>
                        <a:t>一致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zh-CN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在Series 1或Series 2吹瓶机上结合使用ECO生态灯与炉顶反光板，可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节能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30%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具体更换过程非常简单，只需将2千瓦的红外线灯管更换为新式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1700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瓦近反射灯即可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在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SBO Series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1吹瓶机上，无论烘炉间距是多少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（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15mm、19mm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还是渐进式），烘炉不需要经过改良就可以安装ECO生态灯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1700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瓦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ECO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生态灯至少可使用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cs typeface="FZZhunYuan-M02S"/>
                        </a:rPr>
                        <a:t>5000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/>
                          <a:cs typeface="FZZhunYuan-M02S"/>
                        </a:rPr>
                        <a:t>小时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6F703101-4A82-4E01-BA5A-16A0F5639ABC}"/>
              </a:ext>
            </a:extLst>
          </p:cNvPr>
          <p:cNvSpPr/>
          <p:nvPr/>
        </p:nvSpPr>
        <p:spPr>
          <a:xfrm>
            <a:off x="4774281" y="1743075"/>
            <a:ext cx="3870354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ZZhunYuan-M02S"/>
                <a:ea typeface="+mn-ea"/>
                <a:cs typeface="FZZhunYuan-M02S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ZZhunYuan-M02S"/>
              <a:ea typeface="+mn-ea"/>
              <a:cs typeface="FZZhunYuan-M02S"/>
            </a:endParaRP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50BF25C1-B87E-4EAB-9FFA-D2F6EECFC1C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0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0643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85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FZZhunYuan-M02S</vt:lpstr>
      <vt:lpstr>Wingdings</vt:lpstr>
      <vt:lpstr>LIOMT</vt:lpstr>
      <vt:lpstr>think-cell Folie</vt:lpstr>
      <vt:lpstr>耗电量至少降低15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0-11-20T11:1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0-10T15:26:15.6703748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8-03T14:26:25.556713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8-03T14:26:25.556713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